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5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401273885350316E-2"/>
          <c:y val="4.1401273885350316E-2"/>
          <c:w val="0.91719745222929938"/>
          <c:h val="0.9171974522292993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F34-4A62-AD13-4C5B5DF0AABC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F34-4A62-AD13-4C5B5DF0AABC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0</c:v>
                </c:pt>
                <c:pt idx="1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34-4A62-AD13-4C5B5DF0AA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62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401273885350316E-2"/>
          <c:y val="4.1401273885350316E-2"/>
          <c:w val="0.91719745222929938"/>
          <c:h val="0.9171974522292993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AE1-47B5-89EC-0E1124BD7491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AE1-47B5-89EC-0E1124BD7491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AE1-47B5-89EC-0E1124BD74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90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401273885350316E-2"/>
          <c:y val="4.1401273885350316E-2"/>
          <c:w val="0.91719745222929938"/>
          <c:h val="0.9171974522292993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CEA-4210-B38D-D4DEB262A274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CEA-4210-B38D-D4DEB262A274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EA-4210-B38D-D4DEB262A2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45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401273885350316E-2"/>
          <c:y val="4.1401273885350316E-2"/>
          <c:w val="0.91719745222929938"/>
          <c:h val="0.9171974522292993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521-41BA-8C40-C8ACE49599A5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521-41BA-8C40-C8ACE49599A5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521-41BA-8C40-C8ACE49599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1B7C62-4058-4769-BE9F-8C43F8E43AE9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00C390-EDE3-424C-82BE-786ABAE0848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46625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93571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0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47080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70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4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733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180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971653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5.bin"/><Relationship Id="rId18" Type="http://schemas.openxmlformats.org/officeDocument/2006/relationships/chart" Target="../charts/chart4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1.xml"/><Relationship Id="rId17" Type="http://schemas.openxmlformats.org/officeDocument/2006/relationships/chart" Target="../charts/chart3.xml"/><Relationship Id="rId2" Type="http://schemas.openxmlformats.org/officeDocument/2006/relationships/tags" Target="../tags/tag5.xml"/><Relationship Id="rId16" Type="http://schemas.openxmlformats.org/officeDocument/2006/relationships/chart" Target="../charts/chart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15" Type="http://schemas.openxmlformats.org/officeDocument/2006/relationships/chart" Target="../charts/chart1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3" imgW="349" imgH="350" progId="TCLayout.ActiveDocument.1">
                  <p:embed/>
                </p:oleObj>
              </mc:Choice>
              <mc:Fallback>
                <p:oleObj name="think-cell 幻灯片" r:id="rId1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119E9001-3679-D75B-371D-EE80CA51A564}"/>
              </a:ext>
            </a:extLst>
          </p:cNvPr>
          <p:cNvSpPr>
            <a:spLocks/>
          </p:cNvSpPr>
          <p:nvPr/>
        </p:nvSpPr>
        <p:spPr bwMode="gray">
          <a:xfrm>
            <a:off x="419099" y="3632297"/>
            <a:ext cx="257757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794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A7449"/>
                </a:solidFill>
                <a:latin typeface="理想品牌字体 2022"/>
                <a:ea typeface="理想品牌字体 2022"/>
              </a:rPr>
              <a:t>{number_1_bullet}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7508780B-C961-97FE-0B34-14A0CC875851}"/>
              </a:ext>
            </a:extLst>
          </p:cNvPr>
          <p:cNvSpPr>
            <a:spLocks/>
          </p:cNvSpPr>
          <p:nvPr/>
        </p:nvSpPr>
        <p:spPr bwMode="gray">
          <a:xfrm>
            <a:off x="3356678" y="3632297"/>
            <a:ext cx="257757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ctr" defTabSz="979488"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number_2_bullet}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48F73832-FA77-FA28-120A-CE43699750D0}"/>
              </a:ext>
            </a:extLst>
          </p:cNvPr>
          <p:cNvSpPr>
            <a:spLocks/>
          </p:cNvSpPr>
          <p:nvPr/>
        </p:nvSpPr>
        <p:spPr bwMode="gray">
          <a:xfrm>
            <a:off x="9231836" y="3632297"/>
            <a:ext cx="257757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ctr" defTabSz="979488"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number_4_bullet}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5837F52F-FEB4-C0FA-5329-4FA2B75AB0F1}"/>
              </a:ext>
            </a:extLst>
          </p:cNvPr>
          <p:cNvSpPr>
            <a:spLocks/>
          </p:cNvSpPr>
          <p:nvPr/>
        </p:nvSpPr>
        <p:spPr bwMode="gray">
          <a:xfrm>
            <a:off x="6294257" y="3632297"/>
            <a:ext cx="257757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ctr" defTabSz="979488"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number_3_bullet}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16D05DEC-CDA8-9114-1A46-C96362B3026B}"/>
              </a:ext>
            </a:extLst>
          </p:cNvPr>
          <p:cNvSpPr txBox="1">
            <a:spLocks/>
          </p:cNvSpPr>
          <p:nvPr/>
        </p:nvSpPr>
        <p:spPr>
          <a:xfrm>
            <a:off x="419101" y="4539201"/>
            <a:ext cx="354958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794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mmary}</a:t>
            </a:r>
          </a:p>
        </p:txBody>
      </p:sp>
      <p:cxnSp>
        <p:nvCxnSpPr>
          <p:cNvPr id="17" name="Gerader Verbinder 10">
            <a:extLst>
              <a:ext uri="{FF2B5EF4-FFF2-40B4-BE49-F238E27FC236}">
                <a16:creationId xmlns:a16="http://schemas.microsoft.com/office/drawing/2014/main" id="{D041169F-2CFD-846A-FA8B-3D9A92D0A735}"/>
              </a:ext>
            </a:extLst>
          </p:cNvPr>
          <p:cNvCxnSpPr>
            <a:cxnSpLocks/>
          </p:cNvCxnSpPr>
          <p:nvPr/>
        </p:nvCxnSpPr>
        <p:spPr>
          <a:xfrm>
            <a:off x="419100" y="4348480"/>
            <a:ext cx="113810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56A12DEC-6D83-6014-9D82-B46D9A4A98C4}"/>
              </a:ext>
            </a:extLst>
          </p:cNvPr>
          <p:cNvSpPr txBox="1">
            <a:spLocks/>
          </p:cNvSpPr>
          <p:nvPr/>
        </p:nvSpPr>
        <p:spPr>
          <a:xfrm>
            <a:off x="4460240" y="4539201"/>
            <a:ext cx="734917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description}</a:t>
            </a:r>
          </a:p>
        </p:txBody>
      </p:sp>
      <p:graphicFrame>
        <p:nvGraphicFramePr>
          <p:cNvPr id="22" name="Chart 3">
            <a:extLst>
              <a:ext uri="{FF2B5EF4-FFF2-40B4-BE49-F238E27FC236}">
                <a16:creationId xmlns:a16="http://schemas.microsoft.com/office/drawing/2014/main" id="{2054E07E-74B9-41B5-8762-988A003243D5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711200" y="1487488"/>
          <a:ext cx="1993900" cy="1993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B9ACA33-F9D7-46D9-3093-5CDBBD64B3E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293813" y="2239962"/>
            <a:ext cx="830263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1}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aphicFrame>
        <p:nvGraphicFramePr>
          <p:cNvPr id="23" name="Chart 3">
            <a:extLst>
              <a:ext uri="{FF2B5EF4-FFF2-40B4-BE49-F238E27FC236}">
                <a16:creationId xmlns:a16="http://schemas.microsoft.com/office/drawing/2014/main" id="{63CEBE89-F498-4805-9900-2B7A686FB24F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3648075" y="1487488"/>
          <a:ext cx="1993900" cy="1993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EBDF942-1EC3-38D3-EF10-10C5A9B61C3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191000" y="2239962"/>
            <a:ext cx="909638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3200" b="1" dirty="0">
                <a:solidFill>
                  <a:srgbClr val="1A7449"/>
                </a:solidFill>
              </a:rPr>
              <a:t>{number_2}</a:t>
            </a:r>
            <a:endParaRPr lang="en-US" altLang="zh-CN" sz="3200" b="1" dirty="0">
              <a:solidFill>
                <a:srgbClr val="1A7449"/>
              </a:solidFill>
            </a:endParaRPr>
          </a:p>
        </p:txBody>
      </p:sp>
      <p:graphicFrame>
        <p:nvGraphicFramePr>
          <p:cNvPr id="24" name="Chart 3">
            <a:extLst>
              <a:ext uri="{FF2B5EF4-FFF2-40B4-BE49-F238E27FC236}">
                <a16:creationId xmlns:a16="http://schemas.microsoft.com/office/drawing/2014/main" id="{29DE6357-EC39-4187-9DD9-B141D2A05C65}"/>
              </a:ext>
            </a:extLst>
          </p:cNvPr>
          <p:cNvGraphicFramePr/>
          <p:nvPr>
            <p:custDataLst>
              <p:tags r:id="rId7"/>
            </p:custDataLst>
            <p:extLst/>
          </p:nvPr>
        </p:nvGraphicFramePr>
        <p:xfrm>
          <a:off x="6586538" y="1487488"/>
          <a:ext cx="1993900" cy="1993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5C1934F0-2330-1D3A-29D2-F2D0CA0F4A5F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7150100" y="2239962"/>
            <a:ext cx="86677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3200" b="1" dirty="0">
                <a:solidFill>
                  <a:srgbClr val="1A7449"/>
                </a:solidFill>
              </a:rPr>
              <a:t>{number_3}</a:t>
            </a:r>
            <a:endParaRPr lang="en-US" altLang="zh-CN" sz="3200" b="1" dirty="0">
              <a:solidFill>
                <a:srgbClr val="1A7449"/>
              </a:solidFill>
            </a:endParaRPr>
          </a:p>
        </p:txBody>
      </p:sp>
      <p:graphicFrame>
        <p:nvGraphicFramePr>
          <p:cNvPr id="25" name="Chart 3">
            <a:extLst>
              <a:ext uri="{FF2B5EF4-FFF2-40B4-BE49-F238E27FC236}">
                <a16:creationId xmlns:a16="http://schemas.microsoft.com/office/drawing/2014/main" id="{E6FAD1A9-33FE-4E37-B850-840DD57ACA66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9523413" y="1487488"/>
          <a:ext cx="1993900" cy="1993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CBB79A2-E4DB-5B92-1D56-55014477C415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9966325" y="2239962"/>
            <a:ext cx="110807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3200" b="1" dirty="0">
                <a:solidFill>
                  <a:srgbClr val="1A7449"/>
                </a:solidFill>
              </a:rPr>
              <a:t>{number_4}</a:t>
            </a:r>
            <a:endParaRPr lang="en-US" altLang="zh-CN" sz="3200" b="1" dirty="0">
              <a:solidFill>
                <a:srgbClr val="1A7449"/>
              </a:solidFill>
            </a:endParaRP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0D29EE7-A9A8-25CE-3FEC-9947E5C9261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23353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mparisons, percent, percentage, progress, think-cell, diagram</a:t>
            </a:r>
          </a:p>
        </p:txBody>
      </p:sp>
      <p:sp>
        <p:nvSpPr>
          <p:cNvPr id="8" name="Rectangle 18">
            <a:extLst>
              <a:ext uri="{FF2B5EF4-FFF2-40B4-BE49-F238E27FC236}">
                <a16:creationId xmlns:a16="http://schemas.microsoft.com/office/drawing/2014/main" id="{F925981C-BE6D-A681-7B23-4BE1A50A5BA2}"/>
              </a:ext>
            </a:extLst>
          </p:cNvPr>
          <p:cNvSpPr>
            <a:spLocks/>
          </p:cNvSpPr>
          <p:nvPr/>
        </p:nvSpPr>
        <p:spPr>
          <a:xfrm>
            <a:off x="8814514" y="-622179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e rings are created using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doughnut charts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hange the percentage valu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ollow these steps: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Double-click a ring to open the chart's datashee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n the datasheet, enter a percentage value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e percentage values on the slide are linked to the think-cell chart and will update accordingly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2075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zaqBW0wXPYK8MGPZKC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F37O4ZBmrfd5etdgN1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OxrQBDRweMUZUBkHxP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GemCHWaqs_gXYSXxzL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rXoRjDPUiQC4D_afdy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wDLs41gEuZYE1saqyc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ZZTDi5Io3NtfjvRoIh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GLOgtvDyGZt1ecvE67N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26</Words>
  <Application>Microsoft Office PowerPoint</Application>
  <PresentationFormat>宽屏</PresentationFormat>
  <Paragraphs>1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42:55Z</dcterms:created>
  <dcterms:modified xsi:type="dcterms:W3CDTF">2025-09-04T05:44:01Z</dcterms:modified>
</cp:coreProperties>
</file>